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0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0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0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0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0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20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391886"/>
            <a:ext cx="9797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chemeClr val="bg2"/>
                </a:solidFill>
              </a:rPr>
              <a:t>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214" y="1404257"/>
            <a:ext cx="9873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519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8</cp:revision>
  <cp:lastPrinted>2017-08-08T07:27:09Z</cp:lastPrinted>
  <dcterms:created xsi:type="dcterms:W3CDTF">2015-06-10T12:48:40Z</dcterms:created>
  <dcterms:modified xsi:type="dcterms:W3CDTF">2025-10-20T11:45:31Z</dcterms:modified>
</cp:coreProperties>
</file>